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256" r:id="rId5"/>
    <p:sldId id="261" r:id="rId6"/>
    <p:sldId id="262" r:id="rId7"/>
    <p:sldId id="263" r:id="rId8"/>
    <p:sldId id="264" r:id="rId9"/>
    <p:sldId id="257" r:id="rId10"/>
    <p:sldId id="258" r:id="rId11"/>
    <p:sldId id="259" r:id="rId12"/>
    <p:sldId id="260" r:id="rId13"/>
  </p:sldIdLst>
  <p:sldSz cx="9144000" cy="6858000" type="screen4x3"/>
  <p:notesSz cx="6985000" cy="9283700"/>
  <p:custDataLst>
    <p:tags r:id="rId16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>
          <p15:clr>
            <a:srgbClr val="A4A3A4"/>
          </p15:clr>
        </p15:guide>
        <p15:guide id="2" pos="22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CECD"/>
    <a:srgbClr val="437C92"/>
    <a:srgbClr val="574E72"/>
    <a:srgbClr val="3FA0D4"/>
    <a:srgbClr val="DABE86"/>
    <a:srgbClr val="F0E5CF"/>
    <a:srgbClr val="E8D8B5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Geen stijl, tabel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531" autoAdjust="0"/>
  </p:normalViewPr>
  <p:slideViewPr>
    <p:cSldViewPr>
      <p:cViewPr varScale="1">
        <p:scale>
          <a:sx n="111" d="100"/>
          <a:sy n="111" d="100"/>
        </p:scale>
        <p:origin x="1650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31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3834" y="78"/>
      </p:cViewPr>
      <p:guideLst>
        <p:guide orient="horz" pos="2924"/>
        <p:guide pos="22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95605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3FDC46-102A-466C-AE8D-31180465617D}" type="datetimeFigureOut">
              <a:rPr lang="en-US" smtClean="0"/>
              <a:t>9/21/2023</a:t>
            </a:fld>
            <a:endParaRPr lang="en-US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95605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7E9146-2619-4111-90A2-78C801A07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0112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95655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r">
              <a:defRPr sz="1200"/>
            </a:lvl1pPr>
          </a:lstStyle>
          <a:p>
            <a:fld id="{21BA8A37-FD1C-4595-A154-124D751F7403}" type="datetimeFigureOut">
              <a:rPr lang="en-GB" smtClean="0"/>
              <a:t>21/09/2023</a:t>
            </a:fld>
            <a:endParaRPr lang="en-GB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169988" y="695325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3" tIns="46116" rIns="92233" bIns="46116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98501" y="4409760"/>
            <a:ext cx="5588000" cy="4177665"/>
          </a:xfrm>
          <a:prstGeom prst="rect">
            <a:avLst/>
          </a:prstGeom>
        </p:spPr>
        <p:txBody>
          <a:bodyPr vert="horz" lIns="92233" tIns="46116" rIns="92233" bIns="46116" rtlCol="0"/>
          <a:lstStyle/>
          <a:p>
            <a:pPr lvl="0"/>
            <a:r>
              <a:rPr lang="en-GB" dirty="0" err="1"/>
              <a:t>Klik</a:t>
            </a:r>
            <a:r>
              <a:rPr lang="en-GB" dirty="0"/>
              <a:t> om de </a:t>
            </a:r>
            <a:r>
              <a:rPr lang="en-GB" dirty="0" err="1"/>
              <a:t>modelstijlen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95655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r">
              <a:defRPr sz="1200"/>
            </a:lvl1pPr>
          </a:lstStyle>
          <a:p>
            <a:fld id="{CAD83EA7-6A8F-4EA2-A5B5-01282DE1CE0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322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Frontpage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E78649C3-8367-4012-A501-1C1E995AD8F6}"/>
              </a:ext>
            </a:extLst>
          </p:cNvPr>
          <p:cNvSpPr/>
          <p:nvPr userDrawn="1"/>
        </p:nvSpPr>
        <p:spPr>
          <a:xfrm>
            <a:off x="0" y="11372"/>
            <a:ext cx="9143999" cy="574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5790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 userDrawn="1"/>
        </p:nvSpPr>
        <p:spPr>
          <a:xfrm>
            <a:off x="0" y="585758"/>
            <a:ext cx="9144000" cy="593946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45D562E-585A-493E-9987-39D27D02C9E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6412956"/>
            <a:ext cx="9144000" cy="439738"/>
          </a:xfrm>
          <a:prstGeom prst="rect">
            <a:avLst/>
          </a:prstGeom>
        </p:spPr>
      </p:pic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1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607746"/>
            <a:ext cx="9144000" cy="5164948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noProof="0" dirty="0"/>
              <a:t>Add Image to fill  the grey box. Bring the picture to the background.</a:t>
            </a:r>
            <a:r>
              <a:rPr lang="nl-NL" dirty="0"/>
              <a:t>  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71265DBE-EA66-46A5-85ED-18E4F3BA3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9" y="76200"/>
            <a:ext cx="8517267" cy="4571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3" name="Picture 12" descr="A close up of a sign&#10;&#10;Description generated with high confidence">
            <a:extLst>
              <a:ext uri="{FF2B5EF4-FFF2-40B4-BE49-F238E27FC236}">
                <a16:creationId xmlns:a16="http://schemas.microsoft.com/office/drawing/2014/main" id="{4B47A39A-B02C-4D52-B802-859E1D38D03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4053" y="43018"/>
            <a:ext cx="409360" cy="489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6005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 page or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8AB50E4-8B9E-4890-82B7-AFDA5F466185}"/>
              </a:ext>
            </a:extLst>
          </p:cNvPr>
          <p:cNvSpPr/>
          <p:nvPr userDrawn="1"/>
        </p:nvSpPr>
        <p:spPr>
          <a:xfrm>
            <a:off x="0" y="11372"/>
            <a:ext cx="9143999" cy="574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3721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/>
          <p:cNvSpPr/>
          <p:nvPr userDrawn="1"/>
        </p:nvSpPr>
        <p:spPr>
          <a:xfrm>
            <a:off x="362127" y="6597352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chemeClr val="tx1"/>
                </a:solidFill>
              </a:rPr>
              <a:pPr algn="r"/>
              <a:t>‹#›</a:t>
            </a:fld>
            <a:endParaRPr lang="en-GB" altLang="en-US" sz="800" dirty="0">
              <a:solidFill>
                <a:schemeClr val="tx1"/>
              </a:solidFill>
            </a:endParaRPr>
          </a:p>
        </p:txBody>
      </p:sp>
      <p:cxnSp>
        <p:nvCxnSpPr>
          <p:cNvPr id="18" name="Rechte verbindingslijn 1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76199" y="681613"/>
            <a:ext cx="9003389" cy="511256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1" name="Tijdelijke aanduiding voor tekst 3"/>
          <p:cNvSpPr>
            <a:spLocks noGrp="1"/>
          </p:cNvSpPr>
          <p:nvPr>
            <p:ph type="body" sz="quarter" idx="13" hasCustomPrompt="1"/>
          </p:nvPr>
        </p:nvSpPr>
        <p:spPr>
          <a:xfrm>
            <a:off x="755576" y="6597352"/>
            <a:ext cx="6192838" cy="216024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presentation name and dat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D84A9A4-4BBA-4EB6-B1E9-1061BCCEEC9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6272200"/>
            <a:ext cx="9144000" cy="57438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9A7180F-3BDA-4AE5-9BB6-6C728CC8F8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" y="76200"/>
            <a:ext cx="8517267" cy="4571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5" name="Picture 14" descr="A close up of a sign&#10;&#10;Description generated with high confidence">
            <a:extLst>
              <a:ext uri="{FF2B5EF4-FFF2-40B4-BE49-F238E27FC236}">
                <a16:creationId xmlns:a16="http://schemas.microsoft.com/office/drawing/2014/main" id="{8C002DBF-F7C0-4337-9815-808EFEA2739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4053" y="43018"/>
            <a:ext cx="409360" cy="489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57318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37405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76200" y="76200"/>
            <a:ext cx="7010400" cy="457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8971" y="6096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7DA27C83-F25A-433E-9E95-FC29404527FF}" type="datetimeFigureOut">
              <a:rPr lang="en-GB" smtClean="0"/>
              <a:pPr/>
              <a:t>21/09/2023</a:t>
            </a:fld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EAEBF997-F99C-4450-B7BA-8F6443997B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9150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654" r:id="rId2"/>
  </p:sldLayoutIdLst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BB61516-890D-4350-AEF4-96148E776A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60F5596-1DA1-4E82-BD18-F27C9FED78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MALLCLEA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BD5985B-8103-6DE6-0AEC-DAF5C9F685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24744"/>
            <a:ext cx="9144000" cy="4647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6496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177EA59-C12B-D10C-C6E3-D8AE571F5E1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DB60B-352D-F234-25C2-00CCE0F334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BC3C3ED-B946-D8F4-1863-802504EA49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5CD7148-BCAD-A547-36D8-C1B26C2D16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92" y="1268760"/>
            <a:ext cx="9128677" cy="4051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114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177EA59-C12B-D10C-C6E3-D8AE571F5E1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DB60B-352D-F234-25C2-00CCE0F334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BC3C3ED-B946-D8F4-1863-802504EA49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/>
              <a:t>GGFindOutlier</a:t>
            </a:r>
            <a:endParaRPr lang="en-A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1354CFB-24C3-3EEA-DD90-FA75633112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69169"/>
            <a:ext cx="9144000" cy="4919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772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DB60B-352D-F234-25C2-00CCE0F334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BC3C3ED-B946-D8F4-1863-802504EA49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/>
              <a:t>GGFindOutlier</a:t>
            </a:r>
            <a:endParaRPr lang="en-A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9E11989-5DCB-F837-1747-60FCA983C8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319"/>
            <a:ext cx="9144000" cy="4925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3743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177EA59-C12B-D10C-C6E3-D8AE571F5E1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55000" lnSpcReduction="20000"/>
          </a:bodyPr>
          <a:lstStyle/>
          <a:p>
            <a:r>
              <a:rPr lang="en-AU" b="1" dirty="0"/>
              <a:t>python c:\ggtools\kmallclean\ggfindoutlier.py -</a:t>
            </a:r>
            <a:r>
              <a:rPr lang="en-AU" b="1" dirty="0" err="1"/>
              <a:t>epsg</a:t>
            </a:r>
            <a:r>
              <a:rPr lang="en-AU" b="1" dirty="0"/>
              <a:t> 32751</a:t>
            </a:r>
          </a:p>
          <a:p>
            <a:r>
              <a:rPr lang="en-AU" dirty="0"/>
              <a:t>configuration: Namespace(</a:t>
            </a:r>
            <a:r>
              <a:rPr lang="en-AU" dirty="0" err="1"/>
              <a:t>epsg</a:t>
            </a:r>
            <a:r>
              <a:rPr lang="en-AU" dirty="0"/>
              <a:t>='32751', </a:t>
            </a:r>
            <a:r>
              <a:rPr lang="en-AU" dirty="0" err="1"/>
              <a:t>inputfile</a:t>
            </a:r>
            <a:r>
              <a:rPr lang="en-AU" dirty="0"/>
              <a:t>='', </a:t>
            </a:r>
            <a:r>
              <a:rPr lang="en-AU" dirty="0" err="1"/>
              <a:t>odir</a:t>
            </a:r>
            <a:r>
              <a:rPr lang="en-AU" dirty="0"/>
              <a:t>='NearestNeighbours_20_OutliersPercent_0.10_zscale_1.00', </a:t>
            </a:r>
            <a:r>
              <a:rPr lang="en-AU" dirty="0" err="1"/>
              <a:t>numpoints</a:t>
            </a:r>
            <a:r>
              <a:rPr lang="en-AU" dirty="0"/>
              <a:t>='20', </a:t>
            </a:r>
            <a:r>
              <a:rPr lang="en-AU" dirty="0" err="1"/>
              <a:t>outlierpercentage</a:t>
            </a:r>
            <a:r>
              <a:rPr lang="en-AU" dirty="0"/>
              <a:t>='0.1', </a:t>
            </a:r>
            <a:r>
              <a:rPr lang="en-AU" dirty="0" err="1"/>
              <a:t>zscale</a:t>
            </a:r>
            <a:r>
              <a:rPr lang="en-AU" dirty="0"/>
              <a:t>='1.0', standard='order1a', debug='-1')</a:t>
            </a:r>
          </a:p>
          <a:p>
            <a:r>
              <a:rPr lang="en-AU" dirty="0"/>
              <a:t>Output Folder: Y:/Subsea-Cloud/ggtools/kmallclean/TIFF2\NearestNeighbours_20_OutliersPercent_0.10_zscale_1.00</a:t>
            </a:r>
          </a:p>
          <a:p>
            <a:r>
              <a:rPr lang="en-AU" dirty="0"/>
              <a:t>Processing file: Y:/Subsea-Cloud/ggtools/kmallclean/TIFF2/SI1026_B_MBE_c1m_LAT_1a_Final_Depth_r1.tif</a:t>
            </a:r>
          </a:p>
          <a:p>
            <a:r>
              <a:rPr lang="en-AU" b="1" dirty="0"/>
              <a:t>Cleaning to IHO Standard: order1a</a:t>
            </a:r>
          </a:p>
          <a:p>
            <a:r>
              <a:rPr lang="en-AU" dirty="0" err="1"/>
              <a:t>EPSGCode</a:t>
            </a:r>
            <a:r>
              <a:rPr lang="en-AU" dirty="0"/>
              <a:t> for geodetic conversions: 32751</a:t>
            </a:r>
          </a:p>
          <a:p>
            <a:r>
              <a:rPr lang="en-AU" dirty="0"/>
              <a:t>Band1 has shape (11989, 7180)</a:t>
            </a:r>
          </a:p>
          <a:p>
            <a:r>
              <a:rPr lang="en-AU" dirty="0" err="1"/>
              <a:t>lons</a:t>
            </a:r>
            <a:r>
              <a:rPr lang="en-AU" dirty="0"/>
              <a:t> shape (86081020,)</a:t>
            </a:r>
          </a:p>
          <a:p>
            <a:r>
              <a:rPr lang="en-AU" dirty="0"/>
              <a:t>Loading Point Cloud...</a:t>
            </a:r>
          </a:p>
          <a:p>
            <a:r>
              <a:rPr lang="en-AU" b="1" dirty="0"/>
              <a:t>Depths loaded for cleaning: 30,555,522</a:t>
            </a:r>
          </a:p>
          <a:p>
            <a:r>
              <a:rPr lang="en-AU" dirty="0"/>
              <a:t>Understanding your data noise levels...</a:t>
            </a:r>
          </a:p>
          <a:p>
            <a:r>
              <a:rPr lang="en-AU" dirty="0"/>
              <a:t>Current filter Nearest Neighbours 20</a:t>
            </a:r>
          </a:p>
          <a:p>
            <a:r>
              <a:rPr lang="en-AU" dirty="0"/>
              <a:t>Current filter </a:t>
            </a:r>
            <a:r>
              <a:rPr lang="en-AU" dirty="0" err="1"/>
              <a:t>StdDEv</a:t>
            </a:r>
            <a:r>
              <a:rPr lang="en-AU" dirty="0"/>
              <a:t> 50.00</a:t>
            </a:r>
          </a:p>
          <a:p>
            <a:r>
              <a:rPr lang="en-AU" dirty="0"/>
              <a:t>Percentage rejection 0.00</a:t>
            </a:r>
          </a:p>
          <a:p>
            <a:r>
              <a:rPr lang="en-AU" dirty="0"/>
              <a:t>Filter level increasing to reject a few more points...</a:t>
            </a:r>
          </a:p>
          <a:p>
            <a:r>
              <a:rPr lang="en-AU" dirty="0"/>
              <a:t>Current filter Nearest Neighbours 20</a:t>
            </a:r>
          </a:p>
          <a:p>
            <a:r>
              <a:rPr lang="en-AU" dirty="0"/>
              <a:t>Current filter </a:t>
            </a:r>
            <a:r>
              <a:rPr lang="en-AU" dirty="0" err="1"/>
              <a:t>StdDEv</a:t>
            </a:r>
            <a:r>
              <a:rPr lang="en-AU" dirty="0"/>
              <a:t> 25.00</a:t>
            </a:r>
          </a:p>
          <a:p>
            <a:r>
              <a:rPr lang="en-AU" dirty="0"/>
              <a:t>Percentage rejection 0.02</a:t>
            </a:r>
          </a:p>
          <a:p>
            <a:r>
              <a:rPr lang="en-AU" dirty="0"/>
              <a:t>Filter level increasing to reject a few more points...</a:t>
            </a:r>
          </a:p>
          <a:p>
            <a:r>
              <a:rPr lang="en-AU" dirty="0"/>
              <a:t>Current filter Nearest Neighbours 20</a:t>
            </a:r>
          </a:p>
          <a:p>
            <a:r>
              <a:rPr lang="en-AU" dirty="0"/>
              <a:t>Current filter </a:t>
            </a:r>
            <a:r>
              <a:rPr lang="en-AU" dirty="0" err="1"/>
              <a:t>StdDEv</a:t>
            </a:r>
            <a:r>
              <a:rPr lang="en-AU" dirty="0"/>
              <a:t> 12.50</a:t>
            </a:r>
          </a:p>
          <a:p>
            <a:r>
              <a:rPr lang="en-AU" dirty="0"/>
              <a:t>Percentage rejection 0.15</a:t>
            </a:r>
          </a:p>
          <a:p>
            <a:r>
              <a:rPr lang="en-AU" dirty="0"/>
              <a:t>Filter level decreasing to reject a few less points...</a:t>
            </a:r>
          </a:p>
          <a:p>
            <a:r>
              <a:rPr lang="en-AU" dirty="0"/>
              <a:t>Current filter Nearest Neighbours 20</a:t>
            </a:r>
          </a:p>
          <a:p>
            <a:r>
              <a:rPr lang="en-AU" dirty="0"/>
              <a:t>Current filter </a:t>
            </a:r>
            <a:r>
              <a:rPr lang="en-AU" dirty="0" err="1"/>
              <a:t>StdDEv</a:t>
            </a:r>
            <a:r>
              <a:rPr lang="en-AU" dirty="0"/>
              <a:t> 18.75</a:t>
            </a:r>
          </a:p>
          <a:p>
            <a:r>
              <a:rPr lang="en-AU" dirty="0"/>
              <a:t>Percentage rejection 0.08</a:t>
            </a:r>
          </a:p>
          <a:p>
            <a:r>
              <a:rPr lang="en-AU" dirty="0"/>
              <a:t>Points accepted by machine learning: 30531793.00</a:t>
            </a:r>
          </a:p>
          <a:p>
            <a:r>
              <a:rPr lang="en-AU" dirty="0"/>
              <a:t>Points tagged for further evaluation: 23729.00</a:t>
            </a:r>
          </a:p>
          <a:p>
            <a:r>
              <a:rPr lang="en-AU" dirty="0"/>
              <a:t>Clean Duration: 111.421 seconds</a:t>
            </a:r>
          </a:p>
          <a:p>
            <a:r>
              <a:rPr lang="en-AU" dirty="0"/>
              <a:t>Creating raw laz file of input raw points: Y:/Subsea-Cloud/ggtools/kmallclean/TIFF2\NearestNeighbours_20_OutliersPercent_0.10_zscale_1.00\SI1026_B_MBE_c1m_LAT_1a_Final_Depth_r1_R.txt</a:t>
            </a:r>
          </a:p>
          <a:p>
            <a:r>
              <a:rPr lang="en-AU" dirty="0"/>
              <a:t>Created REGIONAL TIF file for IHO validation: Y:/Subsea-Cloud/ggtools/kmallclean/TIFF2/NearestNeighbours_20_OutliersPercent_0.10_zscale_1.00/SI1026_B_MBE_c1m_LAT_1a_Final_Depth_r1_R.laz</a:t>
            </a:r>
          </a:p>
          <a:p>
            <a:r>
              <a:rPr lang="en-AU" dirty="0"/>
              <a:t>Created REGIONAL LAZ file of input raw points: Y:/Subsea-Cloud/ggtools/kmallclean/TIFF2/SI1026_B_MBE_c1m_LAT_1a_Final_Depth_r1.tif</a:t>
            </a:r>
          </a:p>
          <a:p>
            <a:r>
              <a:rPr lang="en-AU" dirty="0"/>
              <a:t>Points accepted: 30546737</a:t>
            </a:r>
          </a:p>
          <a:p>
            <a:r>
              <a:rPr lang="en-AU" b="1" dirty="0"/>
              <a:t>Points outside specification: 8785</a:t>
            </a:r>
          </a:p>
          <a:p>
            <a:r>
              <a:rPr lang="en-AU" b="1" dirty="0"/>
              <a:t>Percentage outside specification: 0.0288</a:t>
            </a:r>
          </a:p>
          <a:p>
            <a:r>
              <a:rPr lang="en-AU" dirty="0"/>
              <a:t>Creating tif file... Y:/Subsea-Cloud/ggtools/kmallclean/TIFF2\NearestNeighbours_20_OutliersPercent_0.10_zscale_1.00\SI1026_B_MBE_c1m_LAT_1a_Final_Depth_r1.tif_Inlier.txt_Depth.tif</a:t>
            </a:r>
          </a:p>
          <a:p>
            <a:r>
              <a:rPr lang="en-AU" dirty="0"/>
              <a:t>Creating tif file Complete.</a:t>
            </a:r>
          </a:p>
          <a:p>
            <a:r>
              <a:rPr lang="en-AU" dirty="0"/>
              <a:t>Created LAZ file of inliers: Y:/Subsea-Cloud/ggtools/kmallclean/TIFF2/NearestNeighbours_20_OutliersPercent_0.10_zscale_1.00/SI1026_B_MBE_c1m_LAT_1a_Final_Depth_r1.tif_Inlier.laz</a:t>
            </a:r>
          </a:p>
          <a:p>
            <a:r>
              <a:rPr lang="en-AU" dirty="0"/>
              <a:t>Created LAZ file of outliers: Y:/Subsea-Cloud/ggtools/kmallclean/TIFF2/NearestNeighbours_20_OutliersPercent_0.10_zscale_1.00/SI1026_B_MBE_c1m_LAT_1a_Final_Depth_r1.tif_Outlier.laz</a:t>
            </a:r>
          </a:p>
          <a:p>
            <a:r>
              <a:rPr lang="en-AU" dirty="0"/>
              <a:t>Cleaning complete at: 2023-09-21 17:31:57.884053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DB60B-352D-F234-25C2-00CCE0F334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BC3C3ED-B946-D8F4-1863-802504EA49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/>
              <a:t>GGFindOutli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6573327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62FABD-A98A-4BB0-A60D-B851CB45B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8EB3427-7B92-F5C3-928B-4274652C945A}"/>
              </a:ext>
            </a:extLst>
          </p:cNvPr>
          <p:cNvSpPr txBox="1"/>
          <p:nvPr/>
        </p:nvSpPr>
        <p:spPr>
          <a:xfrm>
            <a:off x="0" y="620688"/>
            <a:ext cx="683643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dirty="0"/>
              <a:t>What is </a:t>
            </a:r>
            <a:r>
              <a:rPr lang="en-AU" dirty="0" err="1"/>
              <a:t>KMALLClean</a:t>
            </a:r>
            <a:r>
              <a:rPr lang="en-AU" dirty="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s a tool to automate the cleaning of raw MBES data in KMALL file forma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Computes a raw point cloud from the kmall fi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Uses machine learning to analyse the raw point cloud and determine the level of noise pres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Cleans the largest outliers to a user-specified percentage of the file.</a:t>
            </a:r>
          </a:p>
        </p:txBody>
      </p:sp>
    </p:spTree>
    <p:extLst>
      <p:ext uri="{BB962C8B-B14F-4D97-AF65-F5344CB8AC3E}">
        <p14:creationId xmlns:p14="http://schemas.microsoft.com/office/powerpoint/2010/main" val="12862472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5A07249-6F66-4993-9682-D6D711C3D0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BES data quality can be very inconsistent across projects, vessels, terrains, weather conditions and survey line direction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A filter configuration which works well on one file, is often not suitable for another fi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 err="1"/>
              <a:t>KMALLclean</a:t>
            </a:r>
            <a:r>
              <a:rPr lang="en-AU" dirty="0"/>
              <a:t> analyses each file and makes an assessment of the noise lev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Using the user configuration of “</a:t>
            </a:r>
            <a:r>
              <a:rPr lang="en-AU" b="1" dirty="0"/>
              <a:t>percentage outliers to reject</a:t>
            </a:r>
            <a:r>
              <a:rPr lang="en-AU" dirty="0"/>
              <a:t>”, the engine rejects the most noisy outliers in the fi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By using a percentage rather than a ‘outlier threshold’ the filter only rejects the most noisy points, not everything beyond a threshold.  This is a very different approach and permits the machine learning to adapt to the data in h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f more points are required to be rejected, a higher percentage threshold should be specifi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f less points are required to be rejected, a lower percentage threshold should be specifi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On completion of outlier selection, an NEW kmall file is created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sz="1400" dirty="0">
                <a:latin typeface="Calibri" panose="020F0502020204030204" pitchFamily="34" charset="0"/>
                <a:cs typeface="Calibri" panose="020F0502020204030204" pitchFamily="34" charset="0"/>
              </a:rPr>
              <a:t>The original kmall file is not modified in any wa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sz="1400" dirty="0">
                <a:latin typeface="Calibri" panose="020F0502020204030204" pitchFamily="34" charset="0"/>
                <a:cs typeface="Calibri" panose="020F0502020204030204" pitchFamily="34" charset="0"/>
              </a:rPr>
              <a:t>The new file contains the same volume of data, same datagram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sz="1400" dirty="0">
                <a:latin typeface="Calibri" panose="020F0502020204030204" pitchFamily="34" charset="0"/>
                <a:cs typeface="Calibri" panose="020F0502020204030204" pitchFamily="34" charset="0"/>
              </a:rPr>
              <a:t>The only modification is the beam quality flag which is set to rejected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sz="1400" dirty="0">
                <a:latin typeface="Calibri" panose="020F0502020204030204" pitchFamily="34" charset="0"/>
                <a:cs typeface="Calibri" panose="020F0502020204030204" pitchFamily="34" charset="0"/>
              </a:rPr>
              <a:t>The original depths remain unchanged.  This means they can easily be reviewed and re-accepted in CARIS if required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CB1AE3-FED9-D8ED-F9D3-9D6693D0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773D27-A3E1-F152-B290-AEABF199B2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How do we control the cleaning process?</a:t>
            </a:r>
          </a:p>
        </p:txBody>
      </p:sp>
    </p:spTree>
    <p:extLst>
      <p:ext uri="{BB962C8B-B14F-4D97-AF65-F5344CB8AC3E}">
        <p14:creationId xmlns:p14="http://schemas.microsoft.com/office/powerpoint/2010/main" val="9982971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D1CB01E-AC94-8AE3-3DEB-A5C4D1A670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We have compared the results of the engine with manual cleaning.  The results are quite similar to manual cleaning, but not identical.  </a:t>
            </a:r>
          </a:p>
          <a:p>
            <a:r>
              <a:rPr lang="en-AU" dirty="0"/>
              <a:t>Testing has demonstrated manual cleaning is very inconsistent.  Different processing personnel never provide identical cleaned data.  Even the same person cannot repeat the same cleaned result.</a:t>
            </a:r>
          </a:p>
          <a:p>
            <a:r>
              <a:rPr lang="en-AU" dirty="0"/>
              <a:t>A better way to assess performance is to use the QAX tool find fliers.  This is used to identify outliers in the processed TIF/BAG files following data processing.</a:t>
            </a:r>
          </a:p>
          <a:p>
            <a:r>
              <a:rPr lang="en-AU" dirty="0"/>
              <a:t>QAX will find fliers but is not 100% accurate.  On steep slopes, reefs, rocky seafloor it often reports false positives.  The tool needs to be used as a guide, not as an absolute valid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FC7019-F399-E5DE-25D3-D7423C607F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985D8E7-A35E-1D88-196E-A938E9575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How to we assess the engine performance?</a:t>
            </a:r>
          </a:p>
        </p:txBody>
      </p:sp>
    </p:spTree>
    <p:extLst>
      <p:ext uri="{BB962C8B-B14F-4D97-AF65-F5344CB8AC3E}">
        <p14:creationId xmlns:p14="http://schemas.microsoft.com/office/powerpoint/2010/main" val="27089547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C179467-C634-AC7A-1160-D4347E97343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Percent 0.1 is sensible</a:t>
            </a:r>
          </a:p>
          <a:p>
            <a:r>
              <a:rPr lang="en-AU" dirty="0"/>
              <a:t>NN 3 is sensible</a:t>
            </a:r>
          </a:p>
          <a:p>
            <a:r>
              <a:rPr lang="en-AU" dirty="0"/>
              <a:t>NN20 and NN10 have negligible differences</a:t>
            </a:r>
          </a:p>
          <a:p>
            <a:endParaRPr lang="en-AU" dirty="0"/>
          </a:p>
          <a:p>
            <a:r>
              <a:rPr lang="en-GB" dirty="0" err="1"/>
              <a:t>tatistical_outlier_removal</a:t>
            </a:r>
            <a:r>
              <a:rPr lang="en-GB" dirty="0"/>
              <a:t> removes points that are further away from their </a:t>
            </a:r>
            <a:r>
              <a:rPr lang="en-GB" dirty="0" err="1"/>
              <a:t>neighbors</a:t>
            </a:r>
            <a:r>
              <a:rPr lang="en-GB" dirty="0"/>
              <a:t> compared to the average for the point cloud. It takes two input parameters:</a:t>
            </a:r>
            <a:endParaRPr lang="en-AU" dirty="0"/>
          </a:p>
          <a:p>
            <a:r>
              <a:rPr lang="en-GB" dirty="0" err="1"/>
              <a:t>nb_neighbors</a:t>
            </a:r>
            <a:r>
              <a:rPr lang="en-GB" dirty="0"/>
              <a:t>, which specifies how many </a:t>
            </a:r>
            <a:r>
              <a:rPr lang="en-GB" dirty="0" err="1"/>
              <a:t>neighbors</a:t>
            </a:r>
            <a:r>
              <a:rPr lang="en-GB" dirty="0"/>
              <a:t> are taken into account in order to calculate the average distance for a given point.</a:t>
            </a:r>
          </a:p>
          <a:p>
            <a:endParaRPr lang="en-GB" dirty="0"/>
          </a:p>
          <a:p>
            <a:r>
              <a:rPr lang="en-GB" dirty="0" err="1"/>
              <a:t>std_ratio</a:t>
            </a:r>
            <a:r>
              <a:rPr lang="en-GB" dirty="0"/>
              <a:t>, which allows setting the threshold level based on the standard deviation of the average distances across the point cloud. The lower this number the more aggressive the filter will be.</a:t>
            </a:r>
            <a:endParaRPr lang="en-A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838FB0-83F4-E661-9580-230CCB4080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19D5F73-40C1-F799-C0FB-FA4BA60960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Notes</a:t>
            </a:r>
          </a:p>
        </p:txBody>
      </p:sp>
    </p:spTree>
    <p:extLst>
      <p:ext uri="{BB962C8B-B14F-4D97-AF65-F5344CB8AC3E}">
        <p14:creationId xmlns:p14="http://schemas.microsoft.com/office/powerpoint/2010/main" val="7949630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0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0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4&quot;&gt;&lt;elem m_fUsage=&quot;3.43900000000000010000E+000&quot;&gt;&lt;m_msothmcolidx val=&quot;0&quot;/&gt;&lt;m_rgb r=&quot;43&quot; g=&quot;7c&quot; b=&quot;92&quot;/&gt;&lt;m_ppcolschidx tagver0=&quot;23004&quot; tagname0=&quot;m_ppcolschidxUNRECOGNIZED&quot; val=&quot;0&quot;/&gt;&lt;m_nBrightness val=&quot;0&quot;/&gt;&lt;/elem&gt;&lt;elem m_fUsage=&quot;1.77803100000000010000E+000&quot;&gt;&lt;m_msothmcolidx val=&quot;0&quot;/&gt;&lt;m_rgb r=&quot;da&quot; g=&quot;be&quot; b=&quot;86&quot;/&gt;&lt;m_ppcolschidx tagver0=&quot;23004&quot; tagname0=&quot;m_ppcolschidxUNRECOGNIZED&quot; val=&quot;0&quot;/&gt;&lt;m_nBrightness val=&quot;0&quot;/&gt;&lt;/elem&gt;&lt;elem m_fUsage=&quot;1.29618459900000030000E+000&quot;&gt;&lt;m_msothmcolidx val=&quot;0&quot;/&gt;&lt;m_rgb r=&quot;dd&quot; g=&quot;e2&quot; b=&quot;e7&quot;/&gt;&lt;m_ppcolschidx tagver0=&quot;23004&quot; tagname0=&quot;m_ppcolschidxUNRECOGNIZED&quot; val=&quot;0&quot;/&gt;&lt;m_nBrightness val=&quot;0&quot;/&gt;&lt;/elem&gt;&lt;elem m_fUsage=&quot;6.62489036190000100000E-001&quot;&gt;&lt;m_msothmcolidx val=&quot;0&quot;/&gt;&lt;m_rgb r=&quot;ce&quot; g=&quot;0&quot; b=&quot;0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FUGRO DEF">
      <a:dk1>
        <a:sysClr val="windowText" lastClr="000000"/>
      </a:dk1>
      <a:lt1>
        <a:sysClr val="window" lastClr="FFFFFF"/>
      </a:lt1>
      <a:dk2>
        <a:srgbClr val="3C6C82"/>
      </a:dk2>
      <a:lt2>
        <a:srgbClr val="FFFFFF"/>
      </a:lt2>
      <a:accent1>
        <a:srgbClr val="3FA0D4"/>
      </a:accent1>
      <a:accent2>
        <a:srgbClr val="47994B"/>
      </a:accent2>
      <a:accent3>
        <a:srgbClr val="88BA14"/>
      </a:accent3>
      <a:accent4>
        <a:srgbClr val="437C92"/>
      </a:accent4>
      <a:accent5>
        <a:srgbClr val="0AABA4"/>
      </a:accent5>
      <a:accent6>
        <a:srgbClr val="DABE86"/>
      </a:accent6>
      <a:hlink>
        <a:srgbClr val="3FA0D4"/>
      </a:hlink>
      <a:folHlink>
        <a:srgbClr val="437C92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.potx" id="{A0185F5F-154F-488F-BD9C-C3AD6568AC97}" vid="{D7588AB8-32E0-4D45-B028-B5D02CADEBB1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604641F201B44B9A50F6EA31173D82" ma:contentTypeVersion="16" ma:contentTypeDescription="Create a new document." ma:contentTypeScope="" ma:versionID="032ee2258f1da1b8c150ad79f55b478a">
  <xsd:schema xmlns:xsd="http://www.w3.org/2001/XMLSchema" xmlns:xs="http://www.w3.org/2001/XMLSchema" xmlns:p="http://schemas.microsoft.com/office/2006/metadata/properties" xmlns:ns2="aca30c7b-4750-412c-ac36-a331d690ac50" xmlns:ns3="108c3ae2-ec4f-423b-8e4f-0ab9b27566fa" targetNamespace="http://schemas.microsoft.com/office/2006/metadata/properties" ma:root="true" ma:fieldsID="90fb5a0685488eff7eeb57bde5f12eb8" ns2:_="" ns3:_="">
    <xsd:import namespace="aca30c7b-4750-412c-ac36-a331d690ac50"/>
    <xsd:import namespace="108c3ae2-ec4f-423b-8e4f-0ab9b27566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a30c7b-4750-412c-ac36-a331d690ac5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f7e814dd-8e4c-45e5-afd2-c9271f5ef3d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8c3ae2-ec4f-423b-8e4f-0ab9b27566f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73b6ed25-02d3-44b2-a6b5-64d18fad318a}" ma:internalName="TaxCatchAll" ma:showField="CatchAllData" ma:web="108c3ae2-ec4f-423b-8e4f-0ab9b27566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ca30c7b-4750-412c-ac36-a331d690ac50">
      <Terms xmlns="http://schemas.microsoft.com/office/infopath/2007/PartnerControls"/>
    </lcf76f155ced4ddcb4097134ff3c332f>
    <TaxCatchAll xmlns="108c3ae2-ec4f-423b-8e4f-0ab9b27566fa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786D149-765C-44A2-8F23-8EB1AD2224A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ca30c7b-4750-412c-ac36-a331d690ac50"/>
    <ds:schemaRef ds:uri="108c3ae2-ec4f-423b-8e4f-0ab9b27566f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5AE6097-74D0-4CEB-B816-29150EBDFE75}">
  <ds:schemaRefs>
    <ds:schemaRef ds:uri="http://schemas.microsoft.com/office/2006/metadata/properties"/>
    <ds:schemaRef ds:uri="http://schemas.microsoft.com/office/infopath/2007/PartnerControls"/>
    <ds:schemaRef ds:uri="aca30c7b-4750-412c-ac36-a331d690ac50"/>
    <ds:schemaRef ds:uri="108c3ae2-ec4f-423b-8e4f-0ab9b27566fa"/>
  </ds:schemaRefs>
</ds:datastoreItem>
</file>

<file path=customXml/itemProps3.xml><?xml version="1.0" encoding="utf-8"?>
<ds:datastoreItem xmlns:ds="http://schemas.openxmlformats.org/officeDocument/2006/customXml" ds:itemID="{4ABC700D-100C-4F93-9603-9E19C739CE6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996</TotalTime>
  <Words>1103</Words>
  <Application>Microsoft Office PowerPoint</Application>
  <PresentationFormat>On-screen Show (4:3)</PresentationFormat>
  <Paragraphs>77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Arial</vt:lpstr>
      <vt:lpstr>Calibri</vt:lpstr>
      <vt:lpstr>Blank</vt:lpstr>
      <vt:lpstr>think-cell Slide</vt:lpstr>
      <vt:lpstr>KMALLCLEAN</vt:lpstr>
      <vt:lpstr>PowerPoint Presentation</vt:lpstr>
      <vt:lpstr>GGFindOutlier</vt:lpstr>
      <vt:lpstr>GGFindOutlier</vt:lpstr>
      <vt:lpstr>GGFindOutlier</vt:lpstr>
      <vt:lpstr>Overview</vt:lpstr>
      <vt:lpstr>How do we control the cleaning process?</vt:lpstr>
      <vt:lpstr>How to we assess the engine performance?</vt:lpstr>
      <vt:lpstr>Not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ul Kennedy</dc:creator>
  <cp:lastModifiedBy>Paul Kennedy</cp:lastModifiedBy>
  <cp:revision>5</cp:revision>
  <dcterms:created xsi:type="dcterms:W3CDTF">2023-09-15T02:00:01Z</dcterms:created>
  <dcterms:modified xsi:type="dcterms:W3CDTF">2023-09-22T09:42:56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604641F201B44B9A50F6EA31173D82</vt:lpwstr>
  </property>
</Properties>
</file>